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1" r:id="rId1"/>
  </p:sldMasterIdLst>
  <p:sldIdLst>
    <p:sldId id="267" r:id="rId2"/>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64B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varScale="1">
        <p:scale>
          <a:sx n="97" d="100"/>
          <a:sy n="97" d="100"/>
        </p:scale>
        <p:origin x="1398" y="84"/>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gradFill rotWithShape="1">
          <a:gsLst>
            <a:gs pos="0">
              <a:schemeClr val="bg1"/>
            </a:gs>
            <a:gs pos="100000">
              <a:srgbClr val="D9D9D9"/>
            </a:gs>
          </a:gsLst>
          <a:lin ang="5400000" scaled="1"/>
        </a:gradFill>
        <a:effectLst/>
      </p:bgPr>
    </p:bg>
    <p:spTree>
      <p:nvGrpSpPr>
        <p:cNvPr id="1" name=""/>
        <p:cNvGrpSpPr/>
        <p:nvPr/>
      </p:nvGrpSpPr>
      <p:grpSpPr>
        <a:xfrm>
          <a:off x="0" y="0"/>
          <a:ext cx="0" cy="0"/>
          <a:chOff x="0" y="0"/>
          <a:chExt cx="0" cy="0"/>
        </a:xfrm>
      </p:grpSpPr>
      <p:graphicFrame>
        <p:nvGraphicFramePr>
          <p:cNvPr id="4" name="Objekt 83" hidden="1">
            <a:extLst>
              <a:ext uri="{FF2B5EF4-FFF2-40B4-BE49-F238E27FC236}">
                <a16:creationId xmlns:a16="http://schemas.microsoft.com/office/drawing/2014/main" id="{8328B3EC-6DFA-4D20-A425-C2B53CAC113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198" name="think-cell Folie" r:id="rId4" imgW="360" imgH="360" progId="TCLayout.ActiveDocument.1">
                  <p:embed/>
                </p:oleObj>
              </mc:Choice>
              <mc:Fallback>
                <p:oleObj name="think-cell Folie" r:id="rId4" imgW="360" imgH="360" progId="TCLayout.ActiveDocument.1">
                  <p:embed/>
                  <p:pic>
                    <p:nvPicPr>
                      <p:cNvPr id="4" name="Objekt 83" hidden="1">
                        <a:extLst>
                          <a:ext uri="{FF2B5EF4-FFF2-40B4-BE49-F238E27FC236}">
                            <a16:creationId xmlns:a16="http://schemas.microsoft.com/office/drawing/2014/main" id="{8328B3EC-6DFA-4D20-A425-C2B53CAC113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4">
            <a:extLst>
              <a:ext uri="{FF2B5EF4-FFF2-40B4-BE49-F238E27FC236}">
                <a16:creationId xmlns:a16="http://schemas.microsoft.com/office/drawing/2014/main" id="{C291A46D-B544-4718-AC2A-0EAE1D8593BF}"/>
              </a:ext>
            </a:extLst>
          </p:cNvPr>
          <p:cNvSpPr txBox="1">
            <a:spLocks/>
          </p:cNvSpPr>
          <p:nvPr userDrawn="1"/>
        </p:nvSpPr>
        <p:spPr>
          <a:xfrm>
            <a:off x="657225" y="6551613"/>
            <a:ext cx="5445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b="1" dirty="0">
                <a:solidFill>
                  <a:srgbClr val="E64B00"/>
                </a:solidFill>
              </a:rPr>
              <a:t>sidel.com</a:t>
            </a:r>
          </a:p>
        </p:txBody>
      </p:sp>
      <p:pic>
        <p:nvPicPr>
          <p:cNvPr id="6" name="Picture 13">
            <a:extLst>
              <a:ext uri="{FF2B5EF4-FFF2-40B4-BE49-F238E27FC236}">
                <a16:creationId xmlns:a16="http://schemas.microsoft.com/office/drawing/2014/main" id="{1F24CF88-8B8B-4929-96C1-70F7F63D691A}"/>
              </a:ext>
            </a:extLst>
          </p:cNvPr>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a:xfrm>
            <a:off x="647700" y="599647"/>
            <a:ext cx="8058150" cy="615553"/>
          </a:xfrm>
        </p:spPr>
        <p:txBody>
          <a:bodyPr/>
          <a:lstStyle>
            <a:lvl1pPr>
              <a:defRPr sz="4000">
                <a:solidFill>
                  <a:schemeClr val="tx1"/>
                </a:solidFill>
              </a:defRPr>
            </a:lvl1pPr>
          </a:lstStyle>
          <a:p>
            <a:r>
              <a:rPr lang="en-US"/>
              <a:t>Click to edit Master title style</a:t>
            </a:r>
            <a:endParaRPr lang="en-GB" dirty="0"/>
          </a:p>
        </p:txBody>
      </p:sp>
      <p:sp>
        <p:nvSpPr>
          <p:cNvPr id="7" name="Textplatzhalter 6"/>
          <p:cNvSpPr>
            <a:spLocks noGrp="1"/>
          </p:cNvSpPr>
          <p:nvPr>
            <p:ph type="body" sz="quarter" idx="10"/>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03699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Nur Titel">
    <p:spTree>
      <p:nvGrpSpPr>
        <p:cNvPr id="1" name=""/>
        <p:cNvGrpSpPr/>
        <p:nvPr/>
      </p:nvGrpSpPr>
      <p:grpSpPr>
        <a:xfrm>
          <a:off x="0" y="0"/>
          <a:ext cx="0" cy="0"/>
          <a:chOff x="0" y="0"/>
          <a:chExt cx="0" cy="0"/>
        </a:xfrm>
      </p:grpSpPr>
      <p:graphicFrame>
        <p:nvGraphicFramePr>
          <p:cNvPr id="3" name="Objekt 84" hidden="1">
            <a:extLst>
              <a:ext uri="{FF2B5EF4-FFF2-40B4-BE49-F238E27FC236}">
                <a16:creationId xmlns:a16="http://schemas.microsoft.com/office/drawing/2014/main" id="{D2E22575-17A0-435D-8450-1A794E99B2D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26" name="think-cell Folie" r:id="rId5" imgW="360" imgH="360" progId="TCLayout.ActiveDocument.1">
                  <p:embed/>
                </p:oleObj>
              </mc:Choice>
              <mc:Fallback>
                <p:oleObj name="think-cell Folie" r:id="rId5" imgW="360" imgH="360" progId="TCLayout.ActiveDocument.1">
                  <p:embed/>
                  <p:pic>
                    <p:nvPicPr>
                      <p:cNvPr id="3" name="Objekt 84" hidden="1">
                        <a:extLst>
                          <a:ext uri="{FF2B5EF4-FFF2-40B4-BE49-F238E27FC236}">
                            <a16:creationId xmlns:a16="http://schemas.microsoft.com/office/drawing/2014/main" id="{D2E22575-17A0-435D-8450-1A794E99B2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Footer Placeholder 3">
            <a:extLst>
              <a:ext uri="{FF2B5EF4-FFF2-40B4-BE49-F238E27FC236}">
                <a16:creationId xmlns:a16="http://schemas.microsoft.com/office/drawing/2014/main" id="{104B3083-2A70-43FC-B016-FCB35C0422A3}"/>
              </a:ext>
            </a:extLst>
          </p:cNvPr>
          <p:cNvSpPr txBox="1">
            <a:spLocks/>
          </p:cNvSpPr>
          <p:nvPr/>
        </p:nvSpPr>
        <p:spPr>
          <a:xfrm>
            <a:off x="1377950" y="6472238"/>
            <a:ext cx="11414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Title, </a:t>
            </a:r>
            <a:fld id="{AF6A7A01-F0BB-4441-BAB9-3E7CB064C4A1}" type="datetime4">
              <a:rPr lang="en-GB" smtClean="0">
                <a:solidFill>
                  <a:srgbClr val="7F7F7F"/>
                </a:solidFill>
              </a:rPr>
              <a:pPr eaLnBrk="1" fontAlgn="auto" hangingPunct="1">
                <a:spcBef>
                  <a:spcPts val="0"/>
                </a:spcBef>
                <a:spcAft>
                  <a:spcPts val="0"/>
                </a:spcAft>
                <a:defRPr/>
              </a:pPr>
              <a:t>07 November 2019</a:t>
            </a:fld>
            <a:endParaRPr lang="en-GB" dirty="0">
              <a:solidFill>
                <a:srgbClr val="7F7F7F"/>
              </a:solidFill>
            </a:endParaRPr>
          </a:p>
        </p:txBody>
      </p:sp>
      <p:sp>
        <p:nvSpPr>
          <p:cNvPr id="5" name="Slide Number Placeholder 4">
            <a:extLst>
              <a:ext uri="{FF2B5EF4-FFF2-40B4-BE49-F238E27FC236}">
                <a16:creationId xmlns:a16="http://schemas.microsoft.com/office/drawing/2014/main" id="{C2816816-1C87-449F-85DE-A249328ACF0C}"/>
              </a:ext>
            </a:extLst>
          </p:cNvPr>
          <p:cNvSpPr txBox="1">
            <a:spLocks/>
          </p:cNvSpPr>
          <p:nvPr/>
        </p:nvSpPr>
        <p:spPr>
          <a:xfrm>
            <a:off x="647700" y="6472238"/>
            <a:ext cx="4429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Page </a:t>
            </a:r>
            <a:fld id="{BFE32EA9-7FC1-4641-BBAD-A43B0995A960}" type="slidenum">
              <a:rPr lang="en-GB" smtClean="0">
                <a:solidFill>
                  <a:srgbClr val="7F7F7F"/>
                </a:solidFill>
              </a:rPr>
              <a:pPr eaLnBrk="1" fontAlgn="auto" hangingPunct="1">
                <a:spcBef>
                  <a:spcPts val="0"/>
                </a:spcBef>
                <a:spcAft>
                  <a:spcPts val="0"/>
                </a:spcAft>
                <a:defRPr/>
              </a:pPr>
              <a:t>‹N°›</a:t>
            </a:fld>
            <a:endParaRPr lang="en-GB" dirty="0">
              <a:solidFill>
                <a:srgbClr val="7F7F7F"/>
              </a:solidFill>
            </a:endParaRPr>
          </a:p>
        </p:txBody>
      </p:sp>
      <p:grpSp>
        <p:nvGrpSpPr>
          <p:cNvPr id="6" name="Group 7">
            <a:extLst>
              <a:ext uri="{FF2B5EF4-FFF2-40B4-BE49-F238E27FC236}">
                <a16:creationId xmlns:a16="http://schemas.microsoft.com/office/drawing/2014/main" id="{8F28ED1B-61FB-4281-8C1B-00322D7F8B0E}"/>
              </a:ext>
            </a:extLst>
          </p:cNvPr>
          <p:cNvGrpSpPr>
            <a:grpSpLocks/>
          </p:cNvGrpSpPr>
          <p:nvPr/>
        </p:nvGrpSpPr>
        <p:grpSpPr bwMode="auto">
          <a:xfrm>
            <a:off x="7723188" y="6499225"/>
            <a:ext cx="920750" cy="252413"/>
            <a:chOff x="1005" y="1644"/>
            <a:chExt cx="3749" cy="1030"/>
          </a:xfrm>
        </p:grpSpPr>
        <p:sp>
          <p:nvSpPr>
            <p:cNvPr id="7" name="Freeform 8">
              <a:extLst>
                <a:ext uri="{FF2B5EF4-FFF2-40B4-BE49-F238E27FC236}">
                  <a16:creationId xmlns:a16="http://schemas.microsoft.com/office/drawing/2014/main" id="{F9CEA414-74D1-42FF-BD2F-5B3B697ACE9F}"/>
                </a:ext>
              </a:extLst>
            </p:cNvPr>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8" name="Freeform 9">
              <a:extLst>
                <a:ext uri="{FF2B5EF4-FFF2-40B4-BE49-F238E27FC236}">
                  <a16:creationId xmlns:a16="http://schemas.microsoft.com/office/drawing/2014/main" id="{ABA15C04-B258-4364-8D65-80C0F0C1555F}"/>
                </a:ext>
              </a:extLst>
            </p:cNvPr>
            <p:cNvSpPr>
              <a:spLocks noEditPoints="1"/>
            </p:cNvSpPr>
            <p:nvPr userDrawn="1"/>
          </p:nvSpPr>
          <p:spPr bwMode="auto">
            <a:xfrm>
              <a:off x="1005" y="1644"/>
              <a:ext cx="1183" cy="1014"/>
            </a:xfrm>
            <a:custGeom>
              <a:avLst/>
              <a:gdLst>
                <a:gd name="T0" fmla="*/ 11162 w 501"/>
                <a:gd name="T1" fmla="*/ 9771 h 429"/>
                <a:gd name="T2" fmla="*/ 10531 w 501"/>
                <a:gd name="T3" fmla="*/ 8956 h 429"/>
                <a:gd name="T4" fmla="*/ 10298 w 501"/>
                <a:gd name="T5" fmla="*/ 8649 h 429"/>
                <a:gd name="T6" fmla="*/ 8954 w 501"/>
                <a:gd name="T7" fmla="*/ 8017 h 429"/>
                <a:gd name="T8" fmla="*/ 7214 w 501"/>
                <a:gd name="T9" fmla="*/ 9771 h 429"/>
                <a:gd name="T10" fmla="*/ 8954 w 501"/>
                <a:gd name="T11" fmla="*/ 11487 h 429"/>
                <a:gd name="T12" fmla="*/ 10298 w 501"/>
                <a:gd name="T13" fmla="*/ 10866 h 429"/>
                <a:gd name="T14" fmla="*/ 10531 w 501"/>
                <a:gd name="T15" fmla="*/ 10554 h 429"/>
                <a:gd name="T16" fmla="*/ 11162 w 501"/>
                <a:gd name="T17" fmla="*/ 9771 h 429"/>
                <a:gd name="T18" fmla="*/ 5041 w 501"/>
                <a:gd name="T19" fmla="*/ 9731 h 429"/>
                <a:gd name="T20" fmla="*/ 8954 w 501"/>
                <a:gd name="T21" fmla="*/ 5859 h 429"/>
                <a:gd name="T22" fmla="*/ 11943 w 501"/>
                <a:gd name="T23" fmla="*/ 7235 h 429"/>
                <a:gd name="T24" fmla="*/ 11965 w 501"/>
                <a:gd name="T25" fmla="*/ 7301 h 429"/>
                <a:gd name="T26" fmla="*/ 12033 w 501"/>
                <a:gd name="T27" fmla="*/ 7273 h 429"/>
                <a:gd name="T28" fmla="*/ 7766 w 501"/>
                <a:gd name="T29" fmla="*/ 0 h 429"/>
                <a:gd name="T30" fmla="*/ 0 w 501"/>
                <a:gd name="T31" fmla="*/ 13392 h 429"/>
                <a:gd name="T32" fmla="*/ 7582 w 501"/>
                <a:gd name="T33" fmla="*/ 13392 h 429"/>
                <a:gd name="T34" fmla="*/ 7622 w 501"/>
                <a:gd name="T35" fmla="*/ 13364 h 429"/>
                <a:gd name="T36" fmla="*/ 6836 w 501"/>
                <a:gd name="T37" fmla="*/ 13024 h 429"/>
                <a:gd name="T38" fmla="*/ 5041 w 501"/>
                <a:gd name="T39" fmla="*/ 9731 h 429"/>
                <a:gd name="T40" fmla="*/ 15417 w 501"/>
                <a:gd name="T41" fmla="*/ 13324 h 429"/>
                <a:gd name="T42" fmla="*/ 14614 w 501"/>
                <a:gd name="T43" fmla="*/ 13111 h 429"/>
                <a:gd name="T44" fmla="*/ 12583 w 501"/>
                <a:gd name="T45" fmla="*/ 11447 h 429"/>
                <a:gd name="T46" fmla="*/ 11809 w 501"/>
                <a:gd name="T47" fmla="*/ 12426 h 429"/>
                <a:gd name="T48" fmla="*/ 10349 w 501"/>
                <a:gd name="T49" fmla="*/ 13364 h 429"/>
                <a:gd name="T50" fmla="*/ 10349 w 501"/>
                <a:gd name="T51" fmla="*/ 13392 h 429"/>
                <a:gd name="T52" fmla="*/ 15573 w 501"/>
                <a:gd name="T53" fmla="*/ 13392 h 429"/>
                <a:gd name="T54" fmla="*/ 15573 w 501"/>
                <a:gd name="T55" fmla="*/ 13364 h 429"/>
                <a:gd name="T56" fmla="*/ 15417 w 501"/>
                <a:gd name="T57" fmla="*/ 13324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9" name="Freeform 10">
              <a:extLst>
                <a:ext uri="{FF2B5EF4-FFF2-40B4-BE49-F238E27FC236}">
                  <a16:creationId xmlns:a16="http://schemas.microsoft.com/office/drawing/2014/main" id="{08480650-F7D0-4627-B973-D8B8EA0CBA22}"/>
                </a:ext>
              </a:extLst>
            </p:cNvPr>
            <p:cNvSpPr>
              <a:spLocks noEditPoints="1"/>
            </p:cNvSpPr>
            <p:nvPr userDrawn="1"/>
          </p:nvSpPr>
          <p:spPr bwMode="auto">
            <a:xfrm>
              <a:off x="2540" y="1904"/>
              <a:ext cx="2214" cy="770"/>
            </a:xfrm>
            <a:custGeom>
              <a:avLst/>
              <a:gdLst>
                <a:gd name="T0" fmla="*/ 5333 w 937"/>
                <a:gd name="T1" fmla="*/ 4228 h 326"/>
                <a:gd name="T2" fmla="*/ 2429 w 937"/>
                <a:gd name="T3" fmla="*/ 2768 h 326"/>
                <a:gd name="T4" fmla="*/ 3892 w 937"/>
                <a:gd name="T5" fmla="*/ 1646 h 326"/>
                <a:gd name="T6" fmla="*/ 5789 w 937"/>
                <a:gd name="T7" fmla="*/ 3108 h 326"/>
                <a:gd name="T8" fmla="*/ 7890 w 937"/>
                <a:gd name="T9" fmla="*/ 3108 h 326"/>
                <a:gd name="T10" fmla="*/ 3986 w 937"/>
                <a:gd name="T11" fmla="*/ 0 h 326"/>
                <a:gd name="T12" fmla="*/ 369 w 937"/>
                <a:gd name="T13" fmla="*/ 2924 h 326"/>
                <a:gd name="T14" fmla="*/ 3244 w 937"/>
                <a:gd name="T15" fmla="*/ 5690 h 326"/>
                <a:gd name="T16" fmla="*/ 6136 w 937"/>
                <a:gd name="T17" fmla="*/ 7287 h 326"/>
                <a:gd name="T18" fmla="*/ 4232 w 937"/>
                <a:gd name="T19" fmla="*/ 8496 h 326"/>
                <a:gd name="T20" fmla="*/ 2082 w 937"/>
                <a:gd name="T21" fmla="*/ 6694 h 326"/>
                <a:gd name="T22" fmla="*/ 28 w 937"/>
                <a:gd name="T23" fmla="*/ 6694 h 326"/>
                <a:gd name="T24" fmla="*/ 4182 w 937"/>
                <a:gd name="T25" fmla="*/ 10147 h 326"/>
                <a:gd name="T26" fmla="*/ 8190 w 937"/>
                <a:gd name="T27" fmla="*/ 7034 h 326"/>
                <a:gd name="T28" fmla="*/ 5333 w 937"/>
                <a:gd name="T29" fmla="*/ 4228 h 326"/>
                <a:gd name="T30" fmla="*/ 16861 w 937"/>
                <a:gd name="T31" fmla="*/ 3772 h 326"/>
                <a:gd name="T32" fmla="*/ 16861 w 937"/>
                <a:gd name="T33" fmla="*/ 3772 h 326"/>
                <a:gd name="T34" fmla="*/ 14751 w 937"/>
                <a:gd name="T35" fmla="*/ 2700 h 326"/>
                <a:gd name="T36" fmla="*/ 11663 w 937"/>
                <a:gd name="T37" fmla="*/ 6349 h 326"/>
                <a:gd name="T38" fmla="*/ 14801 w 937"/>
                <a:gd name="T39" fmla="*/ 10121 h 326"/>
                <a:gd name="T40" fmla="*/ 16928 w 937"/>
                <a:gd name="T41" fmla="*/ 9027 h 326"/>
                <a:gd name="T42" fmla="*/ 16951 w 937"/>
                <a:gd name="T43" fmla="*/ 9027 h 326"/>
                <a:gd name="T44" fmla="*/ 16951 w 937"/>
                <a:gd name="T45" fmla="*/ 9925 h 326"/>
                <a:gd name="T46" fmla="*/ 18799 w 937"/>
                <a:gd name="T47" fmla="*/ 9925 h 326"/>
                <a:gd name="T48" fmla="*/ 18799 w 937"/>
                <a:gd name="T49" fmla="*/ 250 h 326"/>
                <a:gd name="T50" fmla="*/ 16861 w 937"/>
                <a:gd name="T51" fmla="*/ 250 h 326"/>
                <a:gd name="T52" fmla="*/ 16861 w 937"/>
                <a:gd name="T53" fmla="*/ 3772 h 326"/>
                <a:gd name="T54" fmla="*/ 15276 w 937"/>
                <a:gd name="T55" fmla="*/ 8659 h 326"/>
                <a:gd name="T56" fmla="*/ 13589 w 937"/>
                <a:gd name="T57" fmla="*/ 6415 h 326"/>
                <a:gd name="T58" fmla="*/ 15276 w 937"/>
                <a:gd name="T59" fmla="*/ 4178 h 326"/>
                <a:gd name="T60" fmla="*/ 16928 w 937"/>
                <a:gd name="T61" fmla="*/ 6377 h 326"/>
                <a:gd name="T62" fmla="*/ 15276 w 937"/>
                <a:gd name="T63" fmla="*/ 8659 h 326"/>
                <a:gd name="T64" fmla="*/ 23097 w 937"/>
                <a:gd name="T65" fmla="*/ 2700 h 326"/>
                <a:gd name="T66" fmla="*/ 19512 w 937"/>
                <a:gd name="T67" fmla="*/ 6415 h 326"/>
                <a:gd name="T68" fmla="*/ 23097 w 937"/>
                <a:gd name="T69" fmla="*/ 10121 h 326"/>
                <a:gd name="T70" fmla="*/ 26370 w 937"/>
                <a:gd name="T71" fmla="*/ 7750 h 326"/>
                <a:gd name="T72" fmla="*/ 24682 w 937"/>
                <a:gd name="T73" fmla="*/ 7750 h 326"/>
                <a:gd name="T74" fmla="*/ 23165 w 937"/>
                <a:gd name="T75" fmla="*/ 8659 h 326"/>
                <a:gd name="T76" fmla="*/ 21412 w 937"/>
                <a:gd name="T77" fmla="*/ 6878 h 326"/>
                <a:gd name="T78" fmla="*/ 26492 w 937"/>
                <a:gd name="T79" fmla="*/ 6878 h 326"/>
                <a:gd name="T80" fmla="*/ 23097 w 937"/>
                <a:gd name="T81" fmla="*/ 2700 h 326"/>
                <a:gd name="T82" fmla="*/ 21412 w 937"/>
                <a:gd name="T83" fmla="*/ 5669 h 326"/>
                <a:gd name="T84" fmla="*/ 23036 w 937"/>
                <a:gd name="T85" fmla="*/ 4178 h 326"/>
                <a:gd name="T86" fmla="*/ 24567 w 937"/>
                <a:gd name="T87" fmla="*/ 5669 h 326"/>
                <a:gd name="T88" fmla="*/ 21412 w 937"/>
                <a:gd name="T89" fmla="*/ 5669 h 326"/>
                <a:gd name="T90" fmla="*/ 27279 w 937"/>
                <a:gd name="T91" fmla="*/ 9925 h 326"/>
                <a:gd name="T92" fmla="*/ 29205 w 937"/>
                <a:gd name="T93" fmla="*/ 9925 h 326"/>
                <a:gd name="T94" fmla="*/ 29205 w 937"/>
                <a:gd name="T95" fmla="*/ 250 h 326"/>
                <a:gd name="T96" fmla="*/ 27279 w 937"/>
                <a:gd name="T97" fmla="*/ 250 h 326"/>
                <a:gd name="T98" fmla="*/ 27279 w 937"/>
                <a:gd name="T99" fmla="*/ 9925 h 326"/>
                <a:gd name="T100" fmla="*/ 8915 w 937"/>
                <a:gd name="T101" fmla="*/ 9925 h 326"/>
                <a:gd name="T102" fmla="*/ 10843 w 937"/>
                <a:gd name="T103" fmla="*/ 9925 h 326"/>
                <a:gd name="T104" fmla="*/ 10843 w 937"/>
                <a:gd name="T105" fmla="*/ 2900 h 326"/>
                <a:gd name="T106" fmla="*/ 8915 w 937"/>
                <a:gd name="T107" fmla="*/ 2900 h 326"/>
                <a:gd name="T108" fmla="*/ 8915 w 937"/>
                <a:gd name="T109" fmla="*/ 9925 h 326"/>
                <a:gd name="T110" fmla="*/ 8915 w 937"/>
                <a:gd name="T111" fmla="*/ 1831 h 326"/>
                <a:gd name="T112" fmla="*/ 10843 w 937"/>
                <a:gd name="T113" fmla="*/ 1831 h 326"/>
                <a:gd name="T114" fmla="*/ 10843 w 937"/>
                <a:gd name="T115" fmla="*/ 250 h 326"/>
                <a:gd name="T116" fmla="*/ 8915 w 937"/>
                <a:gd name="T117" fmla="*/ 250 h 326"/>
                <a:gd name="T118" fmla="*/ 8915 w 937"/>
                <a:gd name="T119" fmla="*/ 1831 h 3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cxnSp>
        <p:nvCxnSpPr>
          <p:cNvPr id="10" name="Straight Connector 18">
            <a:extLst>
              <a:ext uri="{FF2B5EF4-FFF2-40B4-BE49-F238E27FC236}">
                <a16:creationId xmlns:a16="http://schemas.microsoft.com/office/drawing/2014/main" id="{2EEC66F6-BF49-4E4B-8C3C-532D144DFF7D}"/>
              </a:ext>
            </a:extLst>
          </p:cNvPr>
          <p:cNvCxnSpPr/>
          <p:nvPr/>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11" name="Objekt 82" hidden="1">
            <a:extLst>
              <a:ext uri="{FF2B5EF4-FFF2-40B4-BE49-F238E27FC236}">
                <a16:creationId xmlns:a16="http://schemas.microsoft.com/office/drawing/2014/main" id="{2F6D2158-DF9A-414F-BD51-FA2A868D51C2}"/>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27" name="think-cell Folie" r:id="rId7" imgW="360" imgH="360" progId="TCLayout.ActiveDocument.1">
                  <p:embed/>
                </p:oleObj>
              </mc:Choice>
              <mc:Fallback>
                <p:oleObj name="think-cell Folie" r:id="rId7" imgW="360" imgH="360" progId="TCLayout.ActiveDocument.1">
                  <p:embed/>
                  <p:pic>
                    <p:nvPicPr>
                      <p:cNvPr id="11" name="Objekt 82" hidden="1">
                        <a:extLst>
                          <a:ext uri="{FF2B5EF4-FFF2-40B4-BE49-F238E27FC236}">
                            <a16:creationId xmlns:a16="http://schemas.microsoft.com/office/drawing/2014/main" id="{2F6D2158-DF9A-414F-BD51-FA2A868D51C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4" name="Titel 83"/>
          <p:cNvSpPr>
            <a:spLocks noGrp="1"/>
          </p:cNvSpPr>
          <p:nvPr>
            <p:ph type="title"/>
          </p:nvPr>
        </p:nvSpPr>
        <p:spPr>
          <a:xfrm>
            <a:off x="647700" y="334800"/>
            <a:ext cx="7993063" cy="461665"/>
          </a:xfrm>
        </p:spPr>
        <p:txBody>
          <a:bodyPr/>
          <a:lstStyle>
            <a:lvl1pPr>
              <a:defRPr>
                <a:solidFill>
                  <a:schemeClr val="accent4"/>
                </a:solidFill>
              </a:defRPr>
            </a:lvl1pPr>
          </a:lstStyle>
          <a:p>
            <a:r>
              <a:rPr lang="en-US" noProof="1"/>
              <a:t>Click to edit Master title style</a:t>
            </a:r>
            <a:endParaRPr lang="en-GB" dirty="0"/>
          </a:p>
        </p:txBody>
      </p:sp>
    </p:spTree>
    <p:extLst>
      <p:ext uri="{BB962C8B-B14F-4D97-AF65-F5344CB8AC3E}">
        <p14:creationId xmlns:p14="http://schemas.microsoft.com/office/powerpoint/2010/main" val="21787761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170" name="Objekt 84" hidden="1">
            <a:extLst>
              <a:ext uri="{FF2B5EF4-FFF2-40B4-BE49-F238E27FC236}">
                <a16:creationId xmlns:a16="http://schemas.microsoft.com/office/drawing/2014/main" id="{59032CAB-C573-4E32-8928-97CC4EE55A0E}"/>
              </a:ext>
            </a:extLst>
          </p:cNvPr>
          <p:cNvGraphicFramePr>
            <a:graphicFrameLocks noChangeAspect="1"/>
          </p:cNvGraphicFramePr>
          <p:nvPr>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74" name="think-cell Folie" r:id="rId7" imgW="360" imgH="360" progId="TCLayout.ActiveDocument.1">
                  <p:embed/>
                </p:oleObj>
              </mc:Choice>
              <mc:Fallback>
                <p:oleObj name="think-cell Folie" r:id="rId7" imgW="360" imgH="360" progId="TCLayout.ActiveDocument.1">
                  <p:embed/>
                  <p:pic>
                    <p:nvPicPr>
                      <p:cNvPr id="7170" name="Objekt 84" hidden="1">
                        <a:extLst>
                          <a:ext uri="{FF2B5EF4-FFF2-40B4-BE49-F238E27FC236}">
                            <a16:creationId xmlns:a16="http://schemas.microsoft.com/office/drawing/2014/main" id="{59032CAB-C573-4E32-8928-97CC4EE55A0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171" name="Titelplatzhalter 1">
            <a:extLst>
              <a:ext uri="{FF2B5EF4-FFF2-40B4-BE49-F238E27FC236}">
                <a16:creationId xmlns:a16="http://schemas.microsoft.com/office/drawing/2014/main" id="{60F8BB63-A1F6-4F8A-825A-64746DC428B5}"/>
              </a:ext>
            </a:extLst>
          </p:cNvPr>
          <p:cNvSpPr>
            <a:spLocks noGrp="1"/>
          </p:cNvSpPr>
          <p:nvPr>
            <p:ph type="title"/>
          </p:nvPr>
        </p:nvSpPr>
        <p:spPr bwMode="auto">
          <a:xfrm>
            <a:off x="647700" y="334963"/>
            <a:ext cx="79946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fr-FR" altLang="fr-FR" noProof="1"/>
              <a:t>Titelmasterformat durch Klicken bearbeiten</a:t>
            </a:r>
            <a:endParaRPr lang="en-GB" altLang="fr-FR"/>
          </a:p>
        </p:txBody>
      </p:sp>
      <p:sp>
        <p:nvSpPr>
          <p:cNvPr id="7172" name="Textplatzhalter 2">
            <a:extLst>
              <a:ext uri="{FF2B5EF4-FFF2-40B4-BE49-F238E27FC236}">
                <a16:creationId xmlns:a16="http://schemas.microsoft.com/office/drawing/2014/main" id="{2F2148B9-6219-423B-B9B1-328EB5C7ECDA}"/>
              </a:ext>
            </a:extLst>
          </p:cNvPr>
          <p:cNvSpPr>
            <a:spLocks noGrp="1"/>
          </p:cNvSpPr>
          <p:nvPr>
            <p:ph type="body" idx="1"/>
          </p:nvPr>
        </p:nvSpPr>
        <p:spPr bwMode="auto">
          <a:xfrm>
            <a:off x="647700" y="1485900"/>
            <a:ext cx="7993063" cy="449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noProof="1"/>
              <a:t>Click to edit text style</a:t>
            </a:r>
          </a:p>
          <a:p>
            <a:pPr lvl="1"/>
            <a:r>
              <a:rPr lang="en-GB" altLang="fr-FR"/>
              <a:t>Second level</a:t>
            </a:r>
          </a:p>
          <a:p>
            <a:pPr lvl="2"/>
            <a:r>
              <a:rPr lang="en-GB" altLang="fr-FR"/>
              <a:t>Third level</a:t>
            </a:r>
          </a:p>
          <a:p>
            <a:pPr lvl="3"/>
            <a:r>
              <a:rPr lang="en-GB" altLang="fr-FR"/>
              <a:t>Forth level</a:t>
            </a:r>
          </a:p>
          <a:p>
            <a:pPr lvl="4"/>
            <a:r>
              <a:rPr lang="en-GB" altLang="fr-FR"/>
              <a:t>Fifth level</a:t>
            </a:r>
          </a:p>
        </p:txBody>
      </p:sp>
      <p:sp>
        <p:nvSpPr>
          <p:cNvPr id="86" name="Footer Placeholder 3">
            <a:extLst>
              <a:ext uri="{FF2B5EF4-FFF2-40B4-BE49-F238E27FC236}">
                <a16:creationId xmlns:a16="http://schemas.microsoft.com/office/drawing/2014/main" id="{FD80627C-0082-49A7-A790-B419CC1FECAB}"/>
              </a:ext>
            </a:extLst>
          </p:cNvPr>
          <p:cNvSpPr txBox="1">
            <a:spLocks/>
          </p:cNvSpPr>
          <p:nvPr/>
        </p:nvSpPr>
        <p:spPr>
          <a:xfrm>
            <a:off x="1377950" y="6472238"/>
            <a:ext cx="11414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Title, </a:t>
            </a:r>
            <a:fld id="{AF6A7A01-F0BB-4441-BAB9-3E7CB064C4A1}" type="datetime4">
              <a:rPr lang="en-GB" smtClean="0">
                <a:solidFill>
                  <a:srgbClr val="7F7F7F"/>
                </a:solidFill>
              </a:rPr>
              <a:pPr eaLnBrk="1" fontAlgn="auto" hangingPunct="1">
                <a:spcBef>
                  <a:spcPts val="0"/>
                </a:spcBef>
                <a:spcAft>
                  <a:spcPts val="0"/>
                </a:spcAft>
                <a:defRPr/>
              </a:pPr>
              <a:t>07 November 2019</a:t>
            </a:fld>
            <a:endParaRPr lang="en-GB" dirty="0">
              <a:solidFill>
                <a:srgbClr val="7F7F7F"/>
              </a:solidFill>
            </a:endParaRPr>
          </a:p>
        </p:txBody>
      </p:sp>
      <p:sp>
        <p:nvSpPr>
          <p:cNvPr id="87" name="Slide Number Placeholder 4">
            <a:extLst>
              <a:ext uri="{FF2B5EF4-FFF2-40B4-BE49-F238E27FC236}">
                <a16:creationId xmlns:a16="http://schemas.microsoft.com/office/drawing/2014/main" id="{48B6B3CF-E431-463A-8577-C0696DD94F19}"/>
              </a:ext>
            </a:extLst>
          </p:cNvPr>
          <p:cNvSpPr txBox="1">
            <a:spLocks/>
          </p:cNvSpPr>
          <p:nvPr/>
        </p:nvSpPr>
        <p:spPr>
          <a:xfrm>
            <a:off x="647700" y="6472238"/>
            <a:ext cx="442913" cy="138112"/>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Page </a:t>
            </a:r>
            <a:fld id="{D9A2BF32-F70A-44E3-B222-B104DBA253BF}" type="slidenum">
              <a:rPr lang="en-GB" smtClean="0">
                <a:solidFill>
                  <a:srgbClr val="7F7F7F"/>
                </a:solidFill>
              </a:rPr>
              <a:pPr eaLnBrk="1" fontAlgn="auto" hangingPunct="1">
                <a:spcBef>
                  <a:spcPts val="0"/>
                </a:spcBef>
                <a:spcAft>
                  <a:spcPts val="0"/>
                </a:spcAft>
                <a:defRPr/>
              </a:pPr>
              <a:t>‹N°›</a:t>
            </a:fld>
            <a:endParaRPr lang="en-GB" dirty="0">
              <a:solidFill>
                <a:srgbClr val="7F7F7F"/>
              </a:solidFill>
            </a:endParaRPr>
          </a:p>
        </p:txBody>
      </p:sp>
      <p:grpSp>
        <p:nvGrpSpPr>
          <p:cNvPr id="7175" name="Group 7">
            <a:extLst>
              <a:ext uri="{FF2B5EF4-FFF2-40B4-BE49-F238E27FC236}">
                <a16:creationId xmlns:a16="http://schemas.microsoft.com/office/drawing/2014/main" id="{9559AD99-62AC-4B91-93F5-BB9CD67C6DE0}"/>
              </a:ext>
            </a:extLst>
          </p:cNvPr>
          <p:cNvGrpSpPr>
            <a:grpSpLocks/>
          </p:cNvGrpSpPr>
          <p:nvPr/>
        </p:nvGrpSpPr>
        <p:grpSpPr bwMode="auto">
          <a:xfrm>
            <a:off x="7723188" y="6499225"/>
            <a:ext cx="920750" cy="252413"/>
            <a:chOff x="1005" y="1644"/>
            <a:chExt cx="3749" cy="1030"/>
          </a:xfrm>
        </p:grpSpPr>
        <p:sp>
          <p:nvSpPr>
            <p:cNvPr id="7177" name="Freeform 8">
              <a:extLst>
                <a:ext uri="{FF2B5EF4-FFF2-40B4-BE49-F238E27FC236}">
                  <a16:creationId xmlns:a16="http://schemas.microsoft.com/office/drawing/2014/main" id="{E786354E-381B-495F-954E-4675FE796BBB}"/>
                </a:ext>
              </a:extLst>
            </p:cNvPr>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7178" name="Freeform 9">
              <a:extLst>
                <a:ext uri="{FF2B5EF4-FFF2-40B4-BE49-F238E27FC236}">
                  <a16:creationId xmlns:a16="http://schemas.microsoft.com/office/drawing/2014/main" id="{940005A3-6CF2-4C22-9FFC-0288601B1917}"/>
                </a:ext>
              </a:extLst>
            </p:cNvPr>
            <p:cNvSpPr>
              <a:spLocks noEditPoints="1"/>
            </p:cNvSpPr>
            <p:nvPr userDrawn="1"/>
          </p:nvSpPr>
          <p:spPr bwMode="auto">
            <a:xfrm>
              <a:off x="1005" y="1644"/>
              <a:ext cx="1183" cy="1014"/>
            </a:xfrm>
            <a:custGeom>
              <a:avLst/>
              <a:gdLst>
                <a:gd name="T0" fmla="*/ 11162 w 501"/>
                <a:gd name="T1" fmla="*/ 9771 h 429"/>
                <a:gd name="T2" fmla="*/ 10531 w 501"/>
                <a:gd name="T3" fmla="*/ 8956 h 429"/>
                <a:gd name="T4" fmla="*/ 10298 w 501"/>
                <a:gd name="T5" fmla="*/ 8649 h 429"/>
                <a:gd name="T6" fmla="*/ 8954 w 501"/>
                <a:gd name="T7" fmla="*/ 8017 h 429"/>
                <a:gd name="T8" fmla="*/ 7214 w 501"/>
                <a:gd name="T9" fmla="*/ 9771 h 429"/>
                <a:gd name="T10" fmla="*/ 8954 w 501"/>
                <a:gd name="T11" fmla="*/ 11487 h 429"/>
                <a:gd name="T12" fmla="*/ 10298 w 501"/>
                <a:gd name="T13" fmla="*/ 10866 h 429"/>
                <a:gd name="T14" fmla="*/ 10531 w 501"/>
                <a:gd name="T15" fmla="*/ 10554 h 429"/>
                <a:gd name="T16" fmla="*/ 11162 w 501"/>
                <a:gd name="T17" fmla="*/ 9771 h 429"/>
                <a:gd name="T18" fmla="*/ 5041 w 501"/>
                <a:gd name="T19" fmla="*/ 9731 h 429"/>
                <a:gd name="T20" fmla="*/ 8954 w 501"/>
                <a:gd name="T21" fmla="*/ 5859 h 429"/>
                <a:gd name="T22" fmla="*/ 11943 w 501"/>
                <a:gd name="T23" fmla="*/ 7235 h 429"/>
                <a:gd name="T24" fmla="*/ 11965 w 501"/>
                <a:gd name="T25" fmla="*/ 7301 h 429"/>
                <a:gd name="T26" fmla="*/ 12033 w 501"/>
                <a:gd name="T27" fmla="*/ 7273 h 429"/>
                <a:gd name="T28" fmla="*/ 7766 w 501"/>
                <a:gd name="T29" fmla="*/ 0 h 429"/>
                <a:gd name="T30" fmla="*/ 0 w 501"/>
                <a:gd name="T31" fmla="*/ 13392 h 429"/>
                <a:gd name="T32" fmla="*/ 7582 w 501"/>
                <a:gd name="T33" fmla="*/ 13392 h 429"/>
                <a:gd name="T34" fmla="*/ 7622 w 501"/>
                <a:gd name="T35" fmla="*/ 13364 h 429"/>
                <a:gd name="T36" fmla="*/ 6836 w 501"/>
                <a:gd name="T37" fmla="*/ 13024 h 429"/>
                <a:gd name="T38" fmla="*/ 5041 w 501"/>
                <a:gd name="T39" fmla="*/ 9731 h 429"/>
                <a:gd name="T40" fmla="*/ 15417 w 501"/>
                <a:gd name="T41" fmla="*/ 13324 h 429"/>
                <a:gd name="T42" fmla="*/ 14614 w 501"/>
                <a:gd name="T43" fmla="*/ 13111 h 429"/>
                <a:gd name="T44" fmla="*/ 12583 w 501"/>
                <a:gd name="T45" fmla="*/ 11447 h 429"/>
                <a:gd name="T46" fmla="*/ 11809 w 501"/>
                <a:gd name="T47" fmla="*/ 12426 h 429"/>
                <a:gd name="T48" fmla="*/ 10349 w 501"/>
                <a:gd name="T49" fmla="*/ 13364 h 429"/>
                <a:gd name="T50" fmla="*/ 10349 w 501"/>
                <a:gd name="T51" fmla="*/ 13392 h 429"/>
                <a:gd name="T52" fmla="*/ 15573 w 501"/>
                <a:gd name="T53" fmla="*/ 13392 h 429"/>
                <a:gd name="T54" fmla="*/ 15573 w 501"/>
                <a:gd name="T55" fmla="*/ 13364 h 429"/>
                <a:gd name="T56" fmla="*/ 15417 w 501"/>
                <a:gd name="T57" fmla="*/ 13324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7179" name="Freeform 10">
              <a:extLst>
                <a:ext uri="{FF2B5EF4-FFF2-40B4-BE49-F238E27FC236}">
                  <a16:creationId xmlns:a16="http://schemas.microsoft.com/office/drawing/2014/main" id="{375A982B-3E17-4266-9968-11F56593F442}"/>
                </a:ext>
              </a:extLst>
            </p:cNvPr>
            <p:cNvSpPr>
              <a:spLocks noEditPoints="1"/>
            </p:cNvSpPr>
            <p:nvPr userDrawn="1"/>
          </p:nvSpPr>
          <p:spPr bwMode="auto">
            <a:xfrm>
              <a:off x="2540" y="1904"/>
              <a:ext cx="2214" cy="770"/>
            </a:xfrm>
            <a:custGeom>
              <a:avLst/>
              <a:gdLst>
                <a:gd name="T0" fmla="*/ 5333 w 937"/>
                <a:gd name="T1" fmla="*/ 4228 h 326"/>
                <a:gd name="T2" fmla="*/ 2429 w 937"/>
                <a:gd name="T3" fmla="*/ 2768 h 326"/>
                <a:gd name="T4" fmla="*/ 3892 w 937"/>
                <a:gd name="T5" fmla="*/ 1646 h 326"/>
                <a:gd name="T6" fmla="*/ 5789 w 937"/>
                <a:gd name="T7" fmla="*/ 3108 h 326"/>
                <a:gd name="T8" fmla="*/ 7890 w 937"/>
                <a:gd name="T9" fmla="*/ 3108 h 326"/>
                <a:gd name="T10" fmla="*/ 3986 w 937"/>
                <a:gd name="T11" fmla="*/ 0 h 326"/>
                <a:gd name="T12" fmla="*/ 369 w 937"/>
                <a:gd name="T13" fmla="*/ 2924 h 326"/>
                <a:gd name="T14" fmla="*/ 3244 w 937"/>
                <a:gd name="T15" fmla="*/ 5690 h 326"/>
                <a:gd name="T16" fmla="*/ 6136 w 937"/>
                <a:gd name="T17" fmla="*/ 7287 h 326"/>
                <a:gd name="T18" fmla="*/ 4232 w 937"/>
                <a:gd name="T19" fmla="*/ 8496 h 326"/>
                <a:gd name="T20" fmla="*/ 2082 w 937"/>
                <a:gd name="T21" fmla="*/ 6694 h 326"/>
                <a:gd name="T22" fmla="*/ 28 w 937"/>
                <a:gd name="T23" fmla="*/ 6694 h 326"/>
                <a:gd name="T24" fmla="*/ 4182 w 937"/>
                <a:gd name="T25" fmla="*/ 10147 h 326"/>
                <a:gd name="T26" fmla="*/ 8190 w 937"/>
                <a:gd name="T27" fmla="*/ 7034 h 326"/>
                <a:gd name="T28" fmla="*/ 5333 w 937"/>
                <a:gd name="T29" fmla="*/ 4228 h 326"/>
                <a:gd name="T30" fmla="*/ 16861 w 937"/>
                <a:gd name="T31" fmla="*/ 3772 h 326"/>
                <a:gd name="T32" fmla="*/ 16861 w 937"/>
                <a:gd name="T33" fmla="*/ 3772 h 326"/>
                <a:gd name="T34" fmla="*/ 14751 w 937"/>
                <a:gd name="T35" fmla="*/ 2700 h 326"/>
                <a:gd name="T36" fmla="*/ 11663 w 937"/>
                <a:gd name="T37" fmla="*/ 6349 h 326"/>
                <a:gd name="T38" fmla="*/ 14801 w 937"/>
                <a:gd name="T39" fmla="*/ 10121 h 326"/>
                <a:gd name="T40" fmla="*/ 16928 w 937"/>
                <a:gd name="T41" fmla="*/ 9027 h 326"/>
                <a:gd name="T42" fmla="*/ 16951 w 937"/>
                <a:gd name="T43" fmla="*/ 9027 h 326"/>
                <a:gd name="T44" fmla="*/ 16951 w 937"/>
                <a:gd name="T45" fmla="*/ 9925 h 326"/>
                <a:gd name="T46" fmla="*/ 18799 w 937"/>
                <a:gd name="T47" fmla="*/ 9925 h 326"/>
                <a:gd name="T48" fmla="*/ 18799 w 937"/>
                <a:gd name="T49" fmla="*/ 250 h 326"/>
                <a:gd name="T50" fmla="*/ 16861 w 937"/>
                <a:gd name="T51" fmla="*/ 250 h 326"/>
                <a:gd name="T52" fmla="*/ 16861 w 937"/>
                <a:gd name="T53" fmla="*/ 3772 h 326"/>
                <a:gd name="T54" fmla="*/ 15276 w 937"/>
                <a:gd name="T55" fmla="*/ 8659 h 326"/>
                <a:gd name="T56" fmla="*/ 13589 w 937"/>
                <a:gd name="T57" fmla="*/ 6415 h 326"/>
                <a:gd name="T58" fmla="*/ 15276 w 937"/>
                <a:gd name="T59" fmla="*/ 4178 h 326"/>
                <a:gd name="T60" fmla="*/ 16928 w 937"/>
                <a:gd name="T61" fmla="*/ 6377 h 326"/>
                <a:gd name="T62" fmla="*/ 15276 w 937"/>
                <a:gd name="T63" fmla="*/ 8659 h 326"/>
                <a:gd name="T64" fmla="*/ 23097 w 937"/>
                <a:gd name="T65" fmla="*/ 2700 h 326"/>
                <a:gd name="T66" fmla="*/ 19512 w 937"/>
                <a:gd name="T67" fmla="*/ 6415 h 326"/>
                <a:gd name="T68" fmla="*/ 23097 w 937"/>
                <a:gd name="T69" fmla="*/ 10121 h 326"/>
                <a:gd name="T70" fmla="*/ 26370 w 937"/>
                <a:gd name="T71" fmla="*/ 7750 h 326"/>
                <a:gd name="T72" fmla="*/ 24682 w 937"/>
                <a:gd name="T73" fmla="*/ 7750 h 326"/>
                <a:gd name="T74" fmla="*/ 23165 w 937"/>
                <a:gd name="T75" fmla="*/ 8659 h 326"/>
                <a:gd name="T76" fmla="*/ 21412 w 937"/>
                <a:gd name="T77" fmla="*/ 6878 h 326"/>
                <a:gd name="T78" fmla="*/ 26492 w 937"/>
                <a:gd name="T79" fmla="*/ 6878 h 326"/>
                <a:gd name="T80" fmla="*/ 23097 w 937"/>
                <a:gd name="T81" fmla="*/ 2700 h 326"/>
                <a:gd name="T82" fmla="*/ 21412 w 937"/>
                <a:gd name="T83" fmla="*/ 5669 h 326"/>
                <a:gd name="T84" fmla="*/ 23036 w 937"/>
                <a:gd name="T85" fmla="*/ 4178 h 326"/>
                <a:gd name="T86" fmla="*/ 24567 w 937"/>
                <a:gd name="T87" fmla="*/ 5669 h 326"/>
                <a:gd name="T88" fmla="*/ 21412 w 937"/>
                <a:gd name="T89" fmla="*/ 5669 h 326"/>
                <a:gd name="T90" fmla="*/ 27279 w 937"/>
                <a:gd name="T91" fmla="*/ 9925 h 326"/>
                <a:gd name="T92" fmla="*/ 29205 w 937"/>
                <a:gd name="T93" fmla="*/ 9925 h 326"/>
                <a:gd name="T94" fmla="*/ 29205 w 937"/>
                <a:gd name="T95" fmla="*/ 250 h 326"/>
                <a:gd name="T96" fmla="*/ 27279 w 937"/>
                <a:gd name="T97" fmla="*/ 250 h 326"/>
                <a:gd name="T98" fmla="*/ 27279 w 937"/>
                <a:gd name="T99" fmla="*/ 9925 h 326"/>
                <a:gd name="T100" fmla="*/ 8915 w 937"/>
                <a:gd name="T101" fmla="*/ 9925 h 326"/>
                <a:gd name="T102" fmla="*/ 10843 w 937"/>
                <a:gd name="T103" fmla="*/ 9925 h 326"/>
                <a:gd name="T104" fmla="*/ 10843 w 937"/>
                <a:gd name="T105" fmla="*/ 2900 h 326"/>
                <a:gd name="T106" fmla="*/ 8915 w 937"/>
                <a:gd name="T107" fmla="*/ 2900 h 326"/>
                <a:gd name="T108" fmla="*/ 8915 w 937"/>
                <a:gd name="T109" fmla="*/ 9925 h 326"/>
                <a:gd name="T110" fmla="*/ 8915 w 937"/>
                <a:gd name="T111" fmla="*/ 1831 h 326"/>
                <a:gd name="T112" fmla="*/ 10843 w 937"/>
                <a:gd name="T113" fmla="*/ 1831 h 326"/>
                <a:gd name="T114" fmla="*/ 10843 w 937"/>
                <a:gd name="T115" fmla="*/ 250 h 326"/>
                <a:gd name="T116" fmla="*/ 8915 w 937"/>
                <a:gd name="T117" fmla="*/ 250 h 326"/>
                <a:gd name="T118" fmla="*/ 8915 w 937"/>
                <a:gd name="T119" fmla="*/ 1831 h 3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cxnSp>
        <p:nvCxnSpPr>
          <p:cNvPr id="49" name="Straight Connector 48">
            <a:extLst>
              <a:ext uri="{FF2B5EF4-FFF2-40B4-BE49-F238E27FC236}">
                <a16:creationId xmlns:a16="http://schemas.microsoft.com/office/drawing/2014/main" id="{B1458E4E-E98A-4197-A364-956901B588F1}"/>
              </a:ext>
            </a:extLst>
          </p:cNvPr>
          <p:cNvCxnSpPr/>
          <p:nvPr/>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MSIPCMContentMarking" descr="{&quot;HashCode&quot;:238713050,&quot;Placement&quot;:&quot;Footer&quot;}">
            <a:extLst>
              <a:ext uri="{FF2B5EF4-FFF2-40B4-BE49-F238E27FC236}">
                <a16:creationId xmlns:a16="http://schemas.microsoft.com/office/drawing/2014/main" id="{EC612D9B-C4B0-46A1-AAEF-A13842243BB4}"/>
              </a:ext>
            </a:extLst>
          </p:cNvPr>
          <p:cNvSpPr txBox="1"/>
          <p:nvPr userDrawn="1"/>
        </p:nvSpPr>
        <p:spPr>
          <a:xfrm>
            <a:off x="4240679" y="6624578"/>
            <a:ext cx="662642" cy="233422"/>
          </a:xfrm>
          <a:prstGeom prst="rect">
            <a:avLst/>
          </a:prstGeom>
          <a:noFill/>
        </p:spPr>
        <p:txBody>
          <a:bodyPr vert="horz" wrap="square" lIns="0" tIns="0" rIns="0" bIns="0" rtlCol="0" anchor="ctr" anchorCtr="1">
            <a:spAutoFit/>
          </a:bodyPr>
          <a:lstStyle/>
          <a:p>
            <a:pPr algn="ctr">
              <a:spcBef>
                <a:spcPts val="0"/>
              </a:spcBef>
              <a:spcAft>
                <a:spcPts val="0"/>
              </a:spcAft>
            </a:pPr>
            <a:r>
              <a:rPr lang="fr-FR" sz="900">
                <a:solidFill>
                  <a:srgbClr val="7F7F7F"/>
                </a:solidFill>
                <a:latin typeface="Arial" panose="020B0604020202020204" pitchFamily="34" charset="0"/>
              </a:rPr>
              <a:t>General</a:t>
            </a:r>
            <a:endParaRPr lang="fr-FR" sz="900" dirty="0" err="1">
              <a:solidFill>
                <a:srgbClr val="7F7F7F"/>
              </a:solidFill>
              <a:latin typeface="Arial" panose="020B0604020202020204" pitchFamily="34" charset="0"/>
            </a:endParaRPr>
          </a:p>
        </p:txBody>
      </p:sp>
    </p:spTree>
    <p:custDataLst>
      <p:tags r:id="rId5"/>
    </p:custDataLst>
    <p:extLst>
      <p:ext uri="{BB962C8B-B14F-4D97-AF65-F5344CB8AC3E}">
        <p14:creationId xmlns:p14="http://schemas.microsoft.com/office/powerpoint/2010/main" val="547491377"/>
      </p:ext>
    </p:extLst>
  </p:cSld>
  <p:clrMap bg1="dk1" tx1="lt1" bg2="dk2" tx2="lt2" accent1="accent1" accent2="accent2" accent3="accent3" accent4="accent4" accent5="accent5" accent6="accent6" hlink="hlink" folHlink="folHlink"/>
  <p:sldLayoutIdLst>
    <p:sldLayoutId id="2147483752" r:id="rId1"/>
    <p:sldLayoutId id="2147483753" r:id="rId2"/>
  </p:sldLayoutIdLst>
  <p:hf sldNum="0" hdr="0" dt="0"/>
  <p:txStyles>
    <p:titleStyle>
      <a:lvl1pPr algn="l" rtl="0" eaLnBrk="0" fontAlgn="base" hangingPunct="0">
        <a:spcBef>
          <a:spcPct val="0"/>
        </a:spcBef>
        <a:spcAft>
          <a:spcPct val="0"/>
        </a:spcAft>
        <a:defRPr sz="3000" b="1" kern="1200">
          <a:solidFill>
            <a:srgbClr val="E64B00"/>
          </a:solidFill>
          <a:latin typeface="+mj-lt"/>
          <a:ea typeface="+mj-ea"/>
          <a:cs typeface="+mj-cs"/>
        </a:defRPr>
      </a:lvl1pPr>
      <a:lvl2pPr algn="l" rtl="0" eaLnBrk="0" fontAlgn="base" hangingPunct="0">
        <a:spcBef>
          <a:spcPct val="0"/>
        </a:spcBef>
        <a:spcAft>
          <a:spcPct val="0"/>
        </a:spcAft>
        <a:defRPr sz="3000" b="1">
          <a:solidFill>
            <a:srgbClr val="E64B00"/>
          </a:solidFill>
          <a:latin typeface="Arial" panose="020B0604020202020204" pitchFamily="34" charset="0"/>
        </a:defRPr>
      </a:lvl2pPr>
      <a:lvl3pPr algn="l" rtl="0" eaLnBrk="0" fontAlgn="base" hangingPunct="0">
        <a:spcBef>
          <a:spcPct val="0"/>
        </a:spcBef>
        <a:spcAft>
          <a:spcPct val="0"/>
        </a:spcAft>
        <a:defRPr sz="3000" b="1">
          <a:solidFill>
            <a:srgbClr val="E64B00"/>
          </a:solidFill>
          <a:latin typeface="Arial" panose="020B0604020202020204" pitchFamily="34" charset="0"/>
        </a:defRPr>
      </a:lvl3pPr>
      <a:lvl4pPr algn="l" rtl="0" eaLnBrk="0" fontAlgn="base" hangingPunct="0">
        <a:spcBef>
          <a:spcPct val="0"/>
        </a:spcBef>
        <a:spcAft>
          <a:spcPct val="0"/>
        </a:spcAft>
        <a:defRPr sz="3000" b="1">
          <a:solidFill>
            <a:srgbClr val="E64B00"/>
          </a:solidFill>
          <a:latin typeface="Arial" panose="020B0604020202020204" pitchFamily="34" charset="0"/>
        </a:defRPr>
      </a:lvl4pPr>
      <a:lvl5pPr algn="l" rtl="0" eaLnBrk="0" fontAlgn="base" hangingPunct="0">
        <a:spcBef>
          <a:spcPct val="0"/>
        </a:spcBef>
        <a:spcAft>
          <a:spcPct val="0"/>
        </a:spcAft>
        <a:defRPr sz="3000" b="1">
          <a:solidFill>
            <a:srgbClr val="E64B00"/>
          </a:solidFill>
          <a:latin typeface="Arial" panose="020B0604020202020204" pitchFamily="34" charset="0"/>
        </a:defRPr>
      </a:lvl5pPr>
      <a:lvl6pPr marL="457200" algn="l" rtl="0" fontAlgn="base">
        <a:spcBef>
          <a:spcPct val="0"/>
        </a:spcBef>
        <a:spcAft>
          <a:spcPct val="0"/>
        </a:spcAft>
        <a:defRPr sz="3000" b="1">
          <a:solidFill>
            <a:srgbClr val="E64B00"/>
          </a:solidFill>
          <a:latin typeface="Arial" panose="020B0604020202020204" pitchFamily="34" charset="0"/>
        </a:defRPr>
      </a:lvl6pPr>
      <a:lvl7pPr marL="914400" algn="l" rtl="0" fontAlgn="base">
        <a:spcBef>
          <a:spcPct val="0"/>
        </a:spcBef>
        <a:spcAft>
          <a:spcPct val="0"/>
        </a:spcAft>
        <a:defRPr sz="3000" b="1">
          <a:solidFill>
            <a:srgbClr val="E64B00"/>
          </a:solidFill>
          <a:latin typeface="Arial" panose="020B0604020202020204" pitchFamily="34" charset="0"/>
        </a:defRPr>
      </a:lvl7pPr>
      <a:lvl8pPr marL="1371600" algn="l" rtl="0" fontAlgn="base">
        <a:spcBef>
          <a:spcPct val="0"/>
        </a:spcBef>
        <a:spcAft>
          <a:spcPct val="0"/>
        </a:spcAft>
        <a:defRPr sz="3000" b="1">
          <a:solidFill>
            <a:srgbClr val="E64B00"/>
          </a:solidFill>
          <a:latin typeface="Arial" panose="020B0604020202020204" pitchFamily="34" charset="0"/>
        </a:defRPr>
      </a:lvl8pPr>
      <a:lvl9pPr marL="1828800" algn="l" rtl="0" fontAlgn="base">
        <a:spcBef>
          <a:spcPct val="0"/>
        </a:spcBef>
        <a:spcAft>
          <a:spcPct val="0"/>
        </a:spcAft>
        <a:defRPr sz="3000" b="1">
          <a:solidFill>
            <a:srgbClr val="E64B00"/>
          </a:solidFill>
          <a:latin typeface="Arial" panose="020B0604020202020204" pitchFamily="34" charset="0"/>
        </a:defRPr>
      </a:lvl9pPr>
    </p:titleStyle>
    <p:bodyStyle>
      <a:lvl1pPr algn="l" rtl="0" eaLnBrk="0" fontAlgn="base" hangingPunct="0">
        <a:spcBef>
          <a:spcPts val="400"/>
        </a:spcBef>
        <a:spcAft>
          <a:spcPct val="0"/>
        </a:spcAft>
        <a:buClr>
          <a:srgbClr val="E64B00"/>
        </a:buClr>
        <a:buFont typeface="Wingdings" panose="05000000000000000000" pitchFamily="2" charset="2"/>
        <a:defRPr kern="1200">
          <a:solidFill>
            <a:schemeClr val="tx1"/>
          </a:solidFill>
          <a:latin typeface="+mn-lt"/>
          <a:ea typeface="+mn-ea"/>
          <a:cs typeface="+mn-cs"/>
        </a:defRPr>
      </a:lvl1pPr>
      <a:lvl2pPr marL="177800" indent="-177800" algn="l" rtl="0" eaLnBrk="0" fontAlgn="base" hangingPunct="0">
        <a:spcBef>
          <a:spcPts val="400"/>
        </a:spcBef>
        <a:spcAft>
          <a:spcPct val="0"/>
        </a:spcAft>
        <a:buClr>
          <a:srgbClr val="E64B00"/>
        </a:buClr>
        <a:buFont typeface="Wingdings" panose="05000000000000000000" pitchFamily="2" charset="2"/>
        <a:buChar char="§"/>
        <a:defRPr sz="1600" kern="1200">
          <a:solidFill>
            <a:schemeClr val="tx1"/>
          </a:solidFill>
          <a:latin typeface="+mn-lt"/>
          <a:ea typeface="+mn-ea"/>
          <a:cs typeface="+mn-cs"/>
        </a:defRPr>
      </a:lvl2pPr>
      <a:lvl3pPr marL="357188" indent="-179388"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3pPr>
      <a:lvl4pPr marL="534988" indent="-177800"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4pPr>
      <a:lvl5pPr marL="714375" indent="-179388" algn="l" rtl="0" eaLnBrk="0" fontAlgn="base" hangingPunct="0">
        <a:spcBef>
          <a:spcPts val="400"/>
        </a:spcBef>
        <a:spcAft>
          <a:spcPct val="0"/>
        </a:spcAft>
        <a:buClr>
          <a:srgbClr val="E64B00"/>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1230646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0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9" name="Group 188"/>
          <p:cNvGraphicFramePr>
            <a:graphicFrameLocks noGrp="1"/>
          </p:cNvGraphicFramePr>
          <p:nvPr>
            <p:extLst>
              <p:ext uri="{D42A27DB-BD31-4B8C-83A1-F6EECF244321}">
                <p14:modId xmlns:p14="http://schemas.microsoft.com/office/powerpoint/2010/main" val="2645127085"/>
              </p:ext>
            </p:extLst>
          </p:nvPr>
        </p:nvGraphicFramePr>
        <p:xfrm>
          <a:off x="651885" y="1743075"/>
          <a:ext cx="7997390" cy="3990181"/>
        </p:xfrm>
        <a:graphic>
          <a:graphicData uri="http://schemas.openxmlformats.org/drawingml/2006/table">
            <a:tbl>
              <a:tblPr/>
              <a:tblGrid>
                <a:gridCol w="3875290">
                  <a:extLst>
                    <a:ext uri="{9D8B030D-6E8A-4147-A177-3AD203B41FA5}">
                      <a16:colId xmlns:a16="http://schemas.microsoft.com/office/drawing/2014/main" val="20000"/>
                    </a:ext>
                  </a:extLst>
                </a:gridCol>
                <a:gridCol w="244900">
                  <a:extLst>
                    <a:ext uri="{9D8B030D-6E8A-4147-A177-3AD203B41FA5}">
                      <a16:colId xmlns:a16="http://schemas.microsoft.com/office/drawing/2014/main" val="20001"/>
                    </a:ext>
                  </a:extLst>
                </a:gridCol>
                <a:gridCol w="3877200">
                  <a:extLst>
                    <a:ext uri="{9D8B030D-6E8A-4147-A177-3AD203B41FA5}">
                      <a16:colId xmlns:a16="http://schemas.microsoft.com/office/drawing/2014/main" val="20002"/>
                    </a:ext>
                  </a:extLst>
                </a:gridCol>
              </a:tblGrid>
              <a:tr h="324302">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mn-lt"/>
                          <a:ea typeface="MS PGothic" pitchFamily="34" charset="-128"/>
                          <a:cs typeface="+mn-cs"/>
                        </a:rPr>
                        <a:t>VALUE AND BENEFITS</a:t>
                      </a: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Arial" charset="0"/>
                          <a:cs typeface="Arial" charset="0"/>
                        </a:rPr>
                        <a:t>DESCRIPTION</a:t>
                      </a:r>
                      <a:endParaRPr kumimoji="0" lang="en-GB" altLang="de-DE" sz="1400" b="0" i="0" u="none" strike="noStrike" cap="none" normalizeH="0" baseline="0" dirty="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E64B00"/>
                    </a:solidFill>
                  </a:tcPr>
                </a:tc>
                <a:extLst>
                  <a:ext uri="{0D108BD9-81ED-4DB2-BD59-A6C34878D82A}">
                    <a16:rowId xmlns:a16="http://schemas.microsoft.com/office/drawing/2014/main" val="10000"/>
                  </a:ext>
                </a:extLst>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indent="-182563">
                        <a:spcBef>
                          <a:spcPts val="300"/>
                        </a:spcBef>
                        <a:spcAft>
                          <a:spcPts val="0"/>
                        </a:spcAft>
                        <a:buClr>
                          <a:schemeClr val="folHlink"/>
                        </a:buClr>
                        <a:buFont typeface="Wingdings" pitchFamily="2" charset="2"/>
                        <a:buChar char="§"/>
                      </a:pPr>
                      <a:r>
                        <a:rPr lang="en-US" sz="1200" dirty="0"/>
                        <a:t>Reuse bottle washer water waste as service water </a:t>
                      </a:r>
                      <a:r>
                        <a:rPr lang="en-US" sz="1200" dirty="0">
                          <a:sym typeface="Wingdings" panose="05000000000000000000" pitchFamily="2" charset="2"/>
                        </a:rPr>
                        <a:t> up to 50% of </a:t>
                      </a:r>
                      <a:r>
                        <a:rPr lang="en-US" sz="1200" dirty="0" err="1">
                          <a:sym typeface="Wingdings" panose="05000000000000000000" pitchFamily="2" charset="2"/>
                        </a:rPr>
                        <a:t>rinser</a:t>
                      </a:r>
                      <a:r>
                        <a:rPr lang="en-US" sz="1200" dirty="0">
                          <a:sym typeface="Wingdings" panose="05000000000000000000" pitchFamily="2" charset="2"/>
                        </a:rPr>
                        <a:t> consumption</a:t>
                      </a:r>
                      <a:endParaRPr lang="en-US" sz="1200" dirty="0"/>
                    </a:p>
                    <a:p>
                      <a:pPr marL="182563" indent="-182563">
                        <a:spcBef>
                          <a:spcPts val="300"/>
                        </a:spcBef>
                        <a:spcAft>
                          <a:spcPts val="0"/>
                        </a:spcAft>
                        <a:buClr>
                          <a:schemeClr val="folHlink"/>
                        </a:buClr>
                        <a:buFont typeface="Wingdings" pitchFamily="2" charset="2"/>
                        <a:buChar char="§"/>
                      </a:pPr>
                      <a:r>
                        <a:rPr lang="en-US" sz="1200" dirty="0"/>
                        <a:t>Collect the water coming out of the bottle washer into a dedicated tank</a:t>
                      </a:r>
                    </a:p>
                    <a:p>
                      <a:pPr marL="182563" indent="-182563">
                        <a:spcBef>
                          <a:spcPts val="300"/>
                        </a:spcBef>
                        <a:spcAft>
                          <a:spcPts val="0"/>
                        </a:spcAft>
                        <a:buClr>
                          <a:schemeClr val="folHlink"/>
                        </a:buClr>
                        <a:buFont typeface="Wingdings" pitchFamily="2" charset="2"/>
                        <a:buChar char="§"/>
                      </a:pPr>
                      <a:endParaRPr lang="en-US" sz="1200" dirty="0"/>
                    </a:p>
                    <a:p>
                      <a:pPr marL="182563" indent="-182563">
                        <a:spcBef>
                          <a:spcPts val="300"/>
                        </a:spcBef>
                        <a:spcAft>
                          <a:spcPts val="0"/>
                        </a:spcAft>
                        <a:buClr>
                          <a:schemeClr val="folHlink"/>
                        </a:buClr>
                        <a:buFont typeface="Wingdings" pitchFamily="2" charset="2"/>
                        <a:buChar char="§"/>
                      </a:pPr>
                      <a:endParaRPr lang="en-US" sz="1200" dirty="0"/>
                    </a:p>
                    <a:p>
                      <a:pPr marL="162278" marR="0" lvl="1" indent="-162278" algn="l" defTabSz="914400" rtl="0" eaLnBrk="1" fontAlgn="base" latinLnBrk="0" hangingPunct="1">
                        <a:lnSpc>
                          <a:spcPct val="100000"/>
                        </a:lnSpc>
                        <a:spcBef>
                          <a:spcPts val="300"/>
                        </a:spcBef>
                        <a:spcAft>
                          <a:spcPts val="0"/>
                        </a:spcAft>
                        <a:buClr>
                          <a:schemeClr val="accent4"/>
                        </a:buClr>
                        <a:buSzPct val="100000"/>
                        <a:buFont typeface="Wingdings"/>
                        <a:buChar char="§"/>
                        <a:tabLst>
                          <a:tab pos="2974975" algn="l"/>
                          <a:tab pos="3151188" algn="l"/>
                        </a:tabLst>
                        <a:defRPr/>
                      </a:pPr>
                      <a:endParaRPr lang="en-GB" altLang="de-DE" sz="1400" kern="1200" noProof="1">
                        <a:solidFill>
                          <a:srgbClr val="000000"/>
                        </a:solidFill>
                        <a:latin typeface="+mn-lt"/>
                        <a:ea typeface="+mn-ea"/>
                        <a:cs typeface="+mn-cs"/>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The purpose is to give you the possibility to reuse the water used to rinse bottles instead of throwing it away </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The recovered water can be used as service water (e.g. washing of machines) or reconditioned via active carbon installations. It cannot be reused as process water because the recovered  water contains traces of </a:t>
                      </a:r>
                      <a:r>
                        <a:rPr kumimoji="0" lang="en-US" sz="1200" b="0" i="0" u="none" strike="noStrike" kern="1200" cap="none" spc="0" normalizeH="0" baseline="0" noProof="0" dirty="0" err="1">
                          <a:ln>
                            <a:noFill/>
                          </a:ln>
                          <a:solidFill>
                            <a:srgbClr val="000000"/>
                          </a:solidFill>
                          <a:effectLst/>
                          <a:uLnTx/>
                          <a:uFillTx/>
                          <a:latin typeface="+mn-lt"/>
                          <a:ea typeface="+mn-ea"/>
                          <a:cs typeface="+mn-cs"/>
                        </a:rPr>
                        <a:t>peracetic</a:t>
                      </a:r>
                      <a:r>
                        <a:rPr kumimoji="0" lang="en-US" sz="1200" b="0" i="0" u="none" strike="noStrike" kern="1200" cap="none" spc="0" normalizeH="0" baseline="0" noProof="0" dirty="0">
                          <a:ln>
                            <a:noFill/>
                          </a:ln>
                          <a:solidFill>
                            <a:srgbClr val="000000"/>
                          </a:solidFill>
                          <a:effectLst/>
                          <a:uLnTx/>
                          <a:uFillTx/>
                          <a:latin typeface="+mn-lt"/>
                          <a:ea typeface="+mn-ea"/>
                          <a:cs typeface="+mn-cs"/>
                        </a:rPr>
                        <a:t> acid (PAA)</a:t>
                      </a:r>
                      <a:endParaRPr kumimoji="0" lang="en-GB" altLang="de-DE" sz="1400" b="0" i="0" u="none" strike="noStrike" cap="none" normalizeH="0" baseline="0" noProof="1">
                        <a:ln>
                          <a:noFill/>
                        </a:ln>
                        <a:solidFill>
                          <a:schemeClr val="tx1"/>
                        </a:solidFill>
                        <a:effectLst/>
                        <a:latin typeface="Arial" charset="0"/>
                        <a:ea typeface="+mn-ea"/>
                        <a:cs typeface="Arial" charset="0"/>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en-GB" altLang="de-DE" sz="1400" b="0" i="0" u="none" strike="noStrike" cap="none" normalizeH="0" baseline="0" noProof="1">
                        <a:ln>
                          <a:noFill/>
                        </a:ln>
                        <a:solidFill>
                          <a:schemeClr val="tx1"/>
                        </a:solidFill>
                        <a:effectLst/>
                        <a:latin typeface="Arial" charset="0"/>
                        <a:ea typeface="+mn-ea"/>
                        <a:cs typeface="Arial" charset="0"/>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2" name="Title 1"/>
          <p:cNvSpPr>
            <a:spLocks noGrp="1"/>
          </p:cNvSpPr>
          <p:nvPr>
            <p:ph type="title"/>
          </p:nvPr>
        </p:nvSpPr>
        <p:spPr>
          <a:xfrm>
            <a:off x="647700" y="334800"/>
            <a:ext cx="7993063" cy="923330"/>
          </a:xfrm>
        </p:spPr>
        <p:txBody>
          <a:bodyPr/>
          <a:lstStyle/>
          <a:p>
            <a:r>
              <a:rPr lang="en-US" dirty="0"/>
              <a:t>Reduce process water waste by reusing bottle washer effluent</a:t>
            </a:r>
            <a:endParaRPr lang="en-GB" dirty="0"/>
          </a:p>
        </p:txBody>
      </p:sp>
      <p:sp>
        <p:nvSpPr>
          <p:cNvPr id="3" name="Text Placeholder 2"/>
          <p:cNvSpPr>
            <a:spLocks noGrp="1"/>
          </p:cNvSpPr>
          <p:nvPr>
            <p:ph type="body" sz="quarter" idx="4294967295"/>
          </p:nvPr>
        </p:nvSpPr>
        <p:spPr>
          <a:xfrm>
            <a:off x="651667" y="1435100"/>
            <a:ext cx="7997825" cy="307975"/>
          </a:xfrm>
        </p:spPr>
        <p:txBody>
          <a:bodyPr vert="horz" lIns="0" tIns="0" rIns="0" bIns="0" rtlCol="0">
            <a:spAutoFit/>
          </a:bodyPr>
          <a:lstStyle/>
          <a:p>
            <a:r>
              <a:rPr lang="en-US" dirty="0"/>
              <a:t>Rinsing water recovery system</a:t>
            </a:r>
          </a:p>
        </p:txBody>
      </p:sp>
      <p:sp>
        <p:nvSpPr>
          <p:cNvPr id="4" name="Text Placeholder 2"/>
          <p:cNvSpPr txBox="1">
            <a:spLocks/>
          </p:cNvSpPr>
          <p:nvPr/>
        </p:nvSpPr>
        <p:spPr>
          <a:xfrm>
            <a:off x="651885" y="5862257"/>
            <a:ext cx="7978774" cy="418576"/>
          </a:xfrm>
          <a:prstGeom prst="rect">
            <a:avLst/>
          </a:prstGeom>
        </p:spPr>
        <p:txBody>
          <a:bodyPr vert="horz" wrap="square" lIns="0" tIns="0" rIns="0" bIns="0" rtlCol="0">
            <a:spAutoFit/>
          </a:bodyPr>
          <a:lstStyle>
            <a:lvl1pPr indent="0" eaLnBrk="1" hangingPunct="1">
              <a:spcBef>
                <a:spcPct val="20000"/>
              </a:spcBef>
              <a:buNone/>
              <a:defRPr sz="800" kern="0"/>
            </a:lvl1pPr>
            <a:lvl2pPr marL="182563" indent="-182563" eaLnBrk="1" hangingPunct="1">
              <a:spcBef>
                <a:spcPts val="1200"/>
              </a:spcBef>
              <a:buClr>
                <a:schemeClr val="accent4"/>
              </a:buClr>
              <a:buFont typeface="Wingdings" pitchFamily="2" charset="2"/>
              <a:buChar char="§"/>
            </a:lvl2pPr>
            <a:lvl3pPr marL="357188" indent="-174625" eaLnBrk="1" hangingPunct="1">
              <a:spcBef>
                <a:spcPts val="0"/>
              </a:spcBef>
              <a:buClr>
                <a:schemeClr val="accent4"/>
              </a:buClr>
              <a:buFont typeface="Wingdings" pitchFamily="2" charset="2"/>
              <a:buChar char="§"/>
              <a:defRPr sz="1600"/>
            </a:lvl3pPr>
            <a:lvl4pPr marL="539750" indent="-182563" eaLnBrk="1" hangingPunct="1">
              <a:spcBef>
                <a:spcPts val="0"/>
              </a:spcBef>
              <a:buFont typeface="Wingdings" pitchFamily="2" charset="2"/>
              <a:buChar char="§"/>
              <a:defRPr sz="1600"/>
            </a:lvl4pPr>
            <a:lvl5pPr marL="714375" indent="-174625" eaLnBrk="1" hangingPunct="1">
              <a:spcBef>
                <a:spcPts val="0"/>
              </a:spcBef>
              <a:buFont typeface="Wingdings" pitchFamily="2" charset="2"/>
              <a:buChar char="§"/>
              <a:defRPr sz="1600"/>
            </a:lvl5pPr>
            <a:lvl6pPr marL="2514600" indent="-228600" eaLnBrk="1" hangingPunct="1">
              <a:spcBef>
                <a:spcPct val="20000"/>
              </a:spcBef>
              <a:buChar char="•"/>
              <a:defRPr sz="2000"/>
            </a:lvl6pPr>
            <a:lvl7pPr marL="2971800" indent="-228600" eaLnBrk="1" hangingPunct="1">
              <a:spcBef>
                <a:spcPct val="20000"/>
              </a:spcBef>
              <a:buChar char="•"/>
              <a:defRPr sz="2000"/>
            </a:lvl7pPr>
            <a:lvl8pPr marL="3429000" indent="-228600" eaLnBrk="1" hangingPunct="1">
              <a:spcBef>
                <a:spcPct val="20000"/>
              </a:spcBef>
              <a:buChar char="•"/>
              <a:defRPr sz="2000"/>
            </a:lvl8pPr>
            <a:lvl9pPr marL="3886200" indent="-228600" eaLnBrk="1" hangingPunct="1">
              <a:spcBef>
                <a:spcPct val="20000"/>
              </a:spcBef>
              <a:buChar char="•"/>
              <a:defRPr sz="2000"/>
            </a:lvl9pPr>
            <a:extLst/>
          </a:lstStyle>
          <a:p>
            <a:r>
              <a:rPr lang="en-GB" dirty="0">
                <a:solidFill>
                  <a:srgbClr val="000000"/>
                </a:solidFill>
              </a:rPr>
              <a:t>Value: Cost Optimisation, Sustainability</a:t>
            </a:r>
          </a:p>
          <a:p>
            <a:r>
              <a:rPr lang="en-GB" dirty="0">
                <a:solidFill>
                  <a:srgbClr val="000000"/>
                </a:solidFill>
              </a:rPr>
              <a:t>Equipment: Aseptic fillers (</a:t>
            </a:r>
            <a:r>
              <a:rPr lang="en-GB" dirty="0" err="1">
                <a:solidFill>
                  <a:srgbClr val="000000"/>
                </a:solidFill>
              </a:rPr>
              <a:t>FMa</a:t>
            </a:r>
            <a:r>
              <a:rPr lang="en-GB" dirty="0">
                <a:solidFill>
                  <a:srgbClr val="000000"/>
                </a:solidFill>
              </a:rPr>
              <a:t>)</a:t>
            </a:r>
          </a:p>
          <a:p>
            <a:r>
              <a:rPr lang="en-GB" dirty="0">
                <a:solidFill>
                  <a:srgbClr val="000000"/>
                </a:solidFill>
              </a:rPr>
              <a:t>Catalogue code: SP008</a:t>
            </a:r>
          </a:p>
        </p:txBody>
      </p:sp>
      <p:sp>
        <p:nvSpPr>
          <p:cNvPr id="5" name="BainBulletsConfiguration" hidden="1"/>
          <p:cNvSpPr txBox="1"/>
          <p:nvPr/>
        </p:nvSpPr>
        <p:spPr>
          <a:xfrm>
            <a:off x="12700" y="12700"/>
            <a:ext cx="65" cy="15389"/>
          </a:xfrm>
          <a:prstGeom prst="rect">
            <a:avLst/>
          </a:prstGeom>
          <a:noFill/>
        </p:spPr>
        <p:txBody>
          <a:bodyPr vert="horz" wrap="none" lIns="0" tIns="0" rIns="0" bIns="0" rtlCol="0">
            <a:spAutoFit/>
          </a:bodyPr>
          <a:lstStyle/>
          <a:p>
            <a:pPr>
              <a:buClr>
                <a:srgbClr val="E64B00"/>
              </a:buClr>
            </a:pPr>
            <a:endParaRPr lang="en-US" sz="100" dirty="0" err="1">
              <a:solidFill>
                <a:srgbClr val="FFFFFF"/>
              </a:solidFill>
            </a:endParaRPr>
          </a:p>
        </p:txBody>
      </p:sp>
      <p:pic>
        <p:nvPicPr>
          <p:cNvPr id="10"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5127" y="4149080"/>
            <a:ext cx="3600000" cy="125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032689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ewSidel_Template_4x3_with add layouts">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DE-modele" id="{16C6E12C-1E21-48B3-BC3B-A4C11BF45D07}" vid="{56CFF798-9613-40F9-8F33-2A66BF195C2C}"/>
    </a:ext>
  </a:extLst>
</a:theme>
</file>

<file path=docProps/app.xml><?xml version="1.0" encoding="utf-8"?>
<Properties xmlns="http://schemas.openxmlformats.org/officeDocument/2006/extended-properties" xmlns:vt="http://schemas.openxmlformats.org/officeDocument/2006/docPropsVTypes">
  <TotalTime>2854</TotalTime>
  <Words>128</Words>
  <Application>Microsoft Office PowerPoint</Application>
  <PresentationFormat>Affichage à l'écran (4:3)</PresentationFormat>
  <Paragraphs>12</Paragraphs>
  <Slides>1</Slides>
  <Notes>0</Notes>
  <HiddenSlides>0</HiddenSlides>
  <MMClips>0</MMClips>
  <ScaleCrop>false</ScaleCrop>
  <HeadingPairs>
    <vt:vector size="8" baseType="variant">
      <vt:variant>
        <vt:lpstr>Polices utilisées</vt:lpstr>
      </vt:variant>
      <vt:variant>
        <vt:i4>3</vt:i4>
      </vt:variant>
      <vt:variant>
        <vt:lpstr>Thème</vt:lpstr>
      </vt:variant>
      <vt:variant>
        <vt:i4>1</vt:i4>
      </vt:variant>
      <vt:variant>
        <vt:lpstr>Serveurs OLE incorporés</vt:lpstr>
      </vt:variant>
      <vt:variant>
        <vt:i4>1</vt:i4>
      </vt:variant>
      <vt:variant>
        <vt:lpstr>Titres des diapositives</vt:lpstr>
      </vt:variant>
      <vt:variant>
        <vt:i4>1</vt:i4>
      </vt:variant>
    </vt:vector>
  </HeadingPairs>
  <TitlesOfParts>
    <vt:vector size="6" baseType="lpstr">
      <vt:lpstr>MS PGothic</vt:lpstr>
      <vt:lpstr>Arial</vt:lpstr>
      <vt:lpstr>Wingdings</vt:lpstr>
      <vt:lpstr>NewSidel_Template_4x3_with add layouts</vt:lpstr>
      <vt:lpstr>think-cell Folie</vt:lpstr>
      <vt:lpstr>Reduce process water waste by reusing bottle washer effluent</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tain product quality and decrease bottle weight</dc:title>
  <dc:creator>Gouriou, Lydie</dc:creator>
  <cp:lastModifiedBy>Sorega, Dan</cp:lastModifiedBy>
  <cp:revision>15</cp:revision>
  <dcterms:created xsi:type="dcterms:W3CDTF">2014-06-10T08:34:36Z</dcterms:created>
  <dcterms:modified xsi:type="dcterms:W3CDTF">2019-11-07T14:0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4480757-a570-4f64-84e7-c5b3ffe9d573_Enabled">
    <vt:lpwstr>True</vt:lpwstr>
  </property>
  <property fmtid="{D5CDD505-2E9C-101B-9397-08002B2CF9AE}" pid="3" name="MSIP_Label_94480757-a570-4f64-84e7-c5b3ffe9d573_SiteId">
    <vt:lpwstr>2390cbd1-e663-4321-bc93-ba298637ce52</vt:lpwstr>
  </property>
  <property fmtid="{D5CDD505-2E9C-101B-9397-08002B2CF9AE}" pid="4" name="MSIP_Label_94480757-a570-4f64-84e7-c5b3ffe9d573_Owner">
    <vt:lpwstr>107200@sidel.com</vt:lpwstr>
  </property>
  <property fmtid="{D5CDD505-2E9C-101B-9397-08002B2CF9AE}" pid="5" name="MSIP_Label_94480757-a570-4f64-84e7-c5b3ffe9d573_SetDate">
    <vt:lpwstr>2019-11-05T14:44:53.4998313Z</vt:lpwstr>
  </property>
  <property fmtid="{D5CDD505-2E9C-101B-9397-08002B2CF9AE}" pid="6" name="MSIP_Label_94480757-a570-4f64-84e7-c5b3ffe9d573_Name">
    <vt:lpwstr>General</vt:lpwstr>
  </property>
  <property fmtid="{D5CDD505-2E9C-101B-9397-08002B2CF9AE}" pid="7" name="MSIP_Label_94480757-a570-4f64-84e7-c5b3ffe9d573_Application">
    <vt:lpwstr>Microsoft Azure Information Protection</vt:lpwstr>
  </property>
  <property fmtid="{D5CDD505-2E9C-101B-9397-08002B2CF9AE}" pid="8" name="MSIP_Label_94480757-a570-4f64-84e7-c5b3ffe9d573_Extended_MSFT_Method">
    <vt:lpwstr>Automatic</vt:lpwstr>
  </property>
  <property fmtid="{D5CDD505-2E9C-101B-9397-08002B2CF9AE}" pid="9" name="Sensitivity">
    <vt:lpwstr>General</vt:lpwstr>
  </property>
</Properties>
</file>